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9" r:id="rId5"/>
  </p:sldMasterIdLst>
  <p:notesMasterIdLst>
    <p:notesMasterId r:id="rId12"/>
  </p:notesMasterIdLst>
  <p:handoutMasterIdLst>
    <p:handoutMasterId r:id="rId13"/>
  </p:handoutMasterIdLst>
  <p:sldIdLst>
    <p:sldId id="380" r:id="rId6"/>
    <p:sldId id="391" r:id="rId7"/>
    <p:sldId id="438" r:id="rId8"/>
    <p:sldId id="451" r:id="rId9"/>
    <p:sldId id="455" r:id="rId10"/>
    <p:sldId id="454" r:id="rId11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1"/>
            <p14:sldId id="438"/>
            <p14:sldId id="451"/>
            <p14:sldId id="455"/>
            <p14:sldId id="4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0" userDrawn="1">
          <p15:clr>
            <a:srgbClr val="A4A3A4"/>
          </p15:clr>
        </p15:guide>
        <p15:guide id="2" pos="2269" userDrawn="1">
          <p15:clr>
            <a:srgbClr val="A4A3A4"/>
          </p15:clr>
        </p15:guide>
        <p15:guide id="3" orient="horz" pos="2936" userDrawn="1">
          <p15:clr>
            <a:srgbClr val="A4A3A4"/>
          </p15:clr>
        </p15:guide>
        <p15:guide id="4" pos="2216" userDrawn="1">
          <p15:clr>
            <a:srgbClr val="A4A3A4"/>
          </p15:clr>
        </p15:guide>
        <p15:guide id="5" pos="2320" userDrawn="1">
          <p15:clr>
            <a:srgbClr val="A4A3A4"/>
          </p15:clr>
        </p15:guide>
        <p15:guide id="6" pos="2266" userDrawn="1">
          <p15:clr>
            <a:srgbClr val="A4A3A4"/>
          </p15:clr>
        </p15:guide>
        <p15:guide id="7" orient="horz" pos="2932" userDrawn="1">
          <p15:clr>
            <a:srgbClr val="A4A3A4"/>
          </p15:clr>
        </p15:guide>
        <p15:guide id="8" pos="2164" userDrawn="1">
          <p15:clr>
            <a:srgbClr val="A4A3A4"/>
          </p15:clr>
        </p15:guide>
        <p15:guide id="9" pos="221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95" autoAdjust="0"/>
    <p:restoredTop sz="80412" autoAdjust="0"/>
  </p:normalViewPr>
  <p:slideViewPr>
    <p:cSldViewPr>
      <p:cViewPr varScale="1">
        <p:scale>
          <a:sx n="93" d="100"/>
          <a:sy n="93" d="100"/>
        </p:scale>
        <p:origin x="1824" y="2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40"/>
        <p:guide pos="2269"/>
        <p:guide orient="horz" pos="2936"/>
        <p:guide pos="2216"/>
        <p:guide pos="2320"/>
        <p:guide pos="2266"/>
        <p:guide orient="horz" pos="2932"/>
        <p:guide pos="2164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3043238" cy="465138"/>
          </a:xfrm>
          <a:prstGeom prst="rect">
            <a:avLst/>
          </a:prstGeom>
        </p:spPr>
        <p:txBody>
          <a:bodyPr vert="horz" lIns="91811" tIns="45906" rIns="91811" bIns="4590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8" y="5"/>
            <a:ext cx="3043238" cy="465138"/>
          </a:xfrm>
          <a:prstGeom prst="rect">
            <a:avLst/>
          </a:prstGeom>
        </p:spPr>
        <p:txBody>
          <a:bodyPr vert="horz" lIns="91811" tIns="45906" rIns="91811" bIns="45906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10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84"/>
            <a:ext cx="3043238" cy="465138"/>
          </a:xfrm>
          <a:prstGeom prst="rect">
            <a:avLst/>
          </a:prstGeom>
        </p:spPr>
        <p:txBody>
          <a:bodyPr vert="horz" lIns="91811" tIns="45906" rIns="91811" bIns="4590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8" y="8842384"/>
            <a:ext cx="3043238" cy="465138"/>
          </a:xfrm>
          <a:prstGeom prst="rect">
            <a:avLst/>
          </a:prstGeom>
        </p:spPr>
        <p:txBody>
          <a:bodyPr vert="horz" lIns="91811" tIns="45906" rIns="91811" bIns="45906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469" tIns="47733" rIns="95469" bIns="477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1" y="0"/>
            <a:ext cx="3043343" cy="465455"/>
          </a:xfrm>
          <a:prstGeom prst="rect">
            <a:avLst/>
          </a:prstGeom>
        </p:spPr>
        <p:txBody>
          <a:bodyPr vert="horz" lIns="95469" tIns="47733" rIns="95469" bIns="47733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10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700088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69" tIns="47733" rIns="95469" bIns="477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31"/>
            <a:ext cx="5618480" cy="4189095"/>
          </a:xfrm>
          <a:prstGeom prst="rect">
            <a:avLst/>
          </a:prstGeom>
        </p:spPr>
        <p:txBody>
          <a:bodyPr vert="horz" lIns="95469" tIns="47733" rIns="95469" bIns="477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6"/>
            <a:ext cx="3043343" cy="465455"/>
          </a:xfrm>
          <a:prstGeom prst="rect">
            <a:avLst/>
          </a:prstGeom>
        </p:spPr>
        <p:txBody>
          <a:bodyPr vert="horz" lIns="95469" tIns="47733" rIns="95469" bIns="477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1" y="8842036"/>
            <a:ext cx="3043343" cy="465455"/>
          </a:xfrm>
          <a:prstGeom prst="rect">
            <a:avLst/>
          </a:prstGeom>
        </p:spPr>
        <p:txBody>
          <a:bodyPr vert="horz" lIns="95469" tIns="47733" rIns="95469" bIns="47733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6137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717918" y="4421823"/>
            <a:ext cx="5743334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047" tIns="94047" rIns="94047" bIns="94047" anchor="t" anchorCtr="0">
            <a:noAutofit/>
          </a:bodyPr>
          <a:lstStyle/>
          <a:p>
            <a:r>
              <a:rPr lang="en-US" b="1" dirty="0"/>
              <a:t> 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6939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6137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717918" y="4421823"/>
            <a:ext cx="5743334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047" tIns="94047" rIns="94047" bIns="94047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5661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096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6137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717918" y="4421823"/>
            <a:ext cx="5743334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047" tIns="94047" rIns="94047" bIns="94047" anchor="t" anchorCtr="0">
            <a:noAutofit/>
          </a:bodyPr>
          <a:lstStyle/>
          <a:p>
            <a:endParaRPr sz="1000" dirty="0"/>
          </a:p>
        </p:txBody>
      </p:sp>
    </p:spTree>
    <p:extLst>
      <p:ext uri="{BB962C8B-B14F-4D97-AF65-F5344CB8AC3E}">
        <p14:creationId xmlns:p14="http://schemas.microsoft.com/office/powerpoint/2010/main" val="28791759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6137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717918" y="4421823"/>
            <a:ext cx="5743334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047" tIns="94047" rIns="94047" bIns="94047" anchor="t" anchorCtr="0">
            <a:noAutofit/>
          </a:bodyPr>
          <a:lstStyle/>
          <a:p>
            <a:endParaRPr sz="1000" dirty="0"/>
          </a:p>
        </p:txBody>
      </p:sp>
    </p:spTree>
    <p:extLst>
      <p:ext uri="{BB962C8B-B14F-4D97-AF65-F5344CB8AC3E}">
        <p14:creationId xmlns:p14="http://schemas.microsoft.com/office/powerpoint/2010/main" val="107620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30436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9/10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10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9/10/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9/10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10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077200" y="222250"/>
            <a:ext cx="652476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152400" y="6400800"/>
            <a:ext cx="106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b="1" u="sng" dirty="0">
                <a:latin typeface="+mj-lt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343400"/>
            <a:ext cx="7751547" cy="466344"/>
          </a:xfrm>
        </p:spPr>
        <p:txBody>
          <a:bodyPr/>
          <a:lstStyle/>
          <a:p>
            <a:r>
              <a:rPr lang="en-US" sz="2700" b="0" dirty="0">
                <a:solidFill>
                  <a:srgbClr val="002060"/>
                </a:solidFill>
              </a:rPr>
              <a:t>No. 3 Car Reliability Program- Contract V30PS04</a:t>
            </a:r>
            <a:br>
              <a:rPr lang="en-US" sz="2800" b="0" dirty="0">
                <a:solidFill>
                  <a:srgbClr val="002060"/>
                </a:solidFill>
              </a:rPr>
            </a:br>
            <a:r>
              <a:rPr lang="en-US" sz="2000" b="0" dirty="0">
                <a:solidFill>
                  <a:srgbClr val="002060"/>
                </a:solidFill>
              </a:rPr>
              <a:t>Red Line Project Management and Engineering Services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50154" y="51816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b="0" dirty="0">
                <a:solidFill>
                  <a:schemeClr val="tx1"/>
                </a:solidFill>
                <a:latin typeface="Montserrat"/>
                <a:ea typeface="Montserrat"/>
                <a:cs typeface="Montserrat"/>
                <a:sym typeface="Montserrat"/>
              </a:rPr>
              <a:t>September 10</a:t>
            </a:r>
            <a:r>
              <a:rPr lang="en-US" sz="2000" b="0" baseline="30000" dirty="0">
                <a:solidFill>
                  <a:schemeClr val="tx1"/>
                </a:solidFill>
                <a:latin typeface="Montserrat"/>
                <a:ea typeface="Montserrat"/>
                <a:cs typeface="Montserrat"/>
                <a:sym typeface="Montserrat"/>
              </a:rPr>
              <a:t>th</a:t>
            </a:r>
            <a:r>
              <a:rPr lang="en-US" sz="2000" b="0" dirty="0">
                <a:solidFill>
                  <a:schemeClr val="tx1"/>
                </a:solidFill>
                <a:latin typeface="Montserrat"/>
                <a:ea typeface="Montserrat"/>
                <a:cs typeface="Montserrat"/>
                <a:sym typeface="Montserrat"/>
              </a:rPr>
              <a:t>, 2018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34"/>
          <p:cNvSpPr txBox="1">
            <a:spLocks/>
          </p:cNvSpPr>
          <p:nvPr/>
        </p:nvSpPr>
        <p:spPr>
          <a:xfrm>
            <a:off x="438266" y="824381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Overview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33814" y="1752600"/>
            <a:ext cx="796342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oday’s presentation defines the Engineering and Project Management Services required to support the MBTA through a reliability program on the Red Line No. 3 Car with the intention of extending its life cycle until the new Red Line Vehicles are put into service:</a:t>
            </a:r>
          </a:p>
          <a:p>
            <a:r>
              <a:rPr lang="en-US" dirty="0">
                <a:latin typeface="+mj-lt"/>
              </a:rPr>
              <a:t> 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Background/History of the Red Line No. 3 from its procurement until current state.</a:t>
            </a:r>
          </a:p>
          <a:p>
            <a:endParaRPr lang="en-US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he program and consultant services are necessary.</a:t>
            </a:r>
          </a:p>
          <a:p>
            <a:pPr lvl="1"/>
            <a:endParaRPr lang="en-US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Scope of Work that will by performed by WSP USA will be outlined.</a:t>
            </a:r>
          </a:p>
          <a:p>
            <a:endParaRPr lang="en-US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8574" y="400972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Reliability Program- Engineering Services</a:t>
            </a:r>
          </a:p>
        </p:txBody>
      </p:sp>
    </p:spTree>
    <p:extLst>
      <p:ext uri="{BB962C8B-B14F-4D97-AF65-F5344CB8AC3E}">
        <p14:creationId xmlns:p14="http://schemas.microsoft.com/office/powerpoint/2010/main" val="4024554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l="3861"/>
          <a:stretch/>
        </p:blipFill>
        <p:spPr>
          <a:xfrm>
            <a:off x="5212704" y="1459781"/>
            <a:ext cx="3649872" cy="3076181"/>
          </a:xfrm>
          <a:prstGeom prst="rect">
            <a:avLst/>
          </a:prstGeom>
          <a:ln w="6350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2" name="Shape 134"/>
          <p:cNvSpPr txBox="1">
            <a:spLocks/>
          </p:cNvSpPr>
          <p:nvPr/>
        </p:nvSpPr>
        <p:spPr>
          <a:xfrm>
            <a:off x="438266" y="824381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Fleet Histor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4800" y="1398235"/>
            <a:ext cx="4963163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86 cars were manufactured by Bombard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se cars entered revenue service in 1994; they have an average mileage of over 1.6 million miles per c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40% of the current Red Line fleet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ypical midlife overhaul occurs between 12-15 yea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No overhaul was performed</a:t>
            </a:r>
          </a:p>
          <a:p>
            <a:pPr lvl="1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n lieu of overhaul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n 12/11/2016, the Board authorized full replacement of the No. 3 car fle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ll new cars will be in service the winter of 2024</a:t>
            </a:r>
          </a:p>
          <a:p>
            <a:pPr lvl="1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liability is necessary to preserve the No. 3 car fleet until the new cars are in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br>
              <a:rPr lang="en-US" sz="1600" dirty="0"/>
            </a:br>
            <a:endParaRPr lang="en-US" sz="1600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8574" y="400972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Reliability Program- Engineering Servic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000" y="4267200"/>
            <a:ext cx="2798125" cy="2100048"/>
          </a:xfrm>
          <a:prstGeom prst="rect">
            <a:avLst/>
          </a:prstGeom>
          <a:ln w="9525"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63558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t="8005"/>
          <a:stretch/>
        </p:blipFill>
        <p:spPr>
          <a:xfrm>
            <a:off x="5638800" y="1459781"/>
            <a:ext cx="2743200" cy="3364781"/>
          </a:xfrm>
          <a:prstGeom prst="rect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418574" y="1295400"/>
            <a:ext cx="573393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scope of work is the replacement of key components to address reliability issu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ower Supp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Electron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Master controll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Truck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Brak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thers</a:t>
            </a:r>
          </a:p>
          <a:p>
            <a:pPr lvl="1"/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ponent replacement will be conducted at Cabot car-house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Project will be completed in modules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sultant support is necessary to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Expedite and prioritize necessary work scop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Second sourcing of obsolete components, specification development, and drafting of technical procedur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Conduct vehicle inspections, component qualification testing and project Q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0" name="Shape 134"/>
          <p:cNvSpPr txBox="1">
            <a:spLocks/>
          </p:cNvSpPr>
          <p:nvPr/>
        </p:nvSpPr>
        <p:spPr>
          <a:xfrm>
            <a:off x="438266" y="824381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Program scope of work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8574" y="400972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Reliability Program- Engineering Servic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3018" t="42567" r="10315" b="10766"/>
          <a:stretch/>
        </p:blipFill>
        <p:spPr>
          <a:xfrm>
            <a:off x="6483447" y="4616999"/>
            <a:ext cx="2348253" cy="168592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99380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5697" y="1676400"/>
            <a:ext cx="840093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wo engineering services submitted proposals (WSP USA and STV)</a:t>
            </a:r>
          </a:p>
          <a:p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he selected consultant is WSP USA with LTK Engineering Services and VP Engineering, Inc. as sub-consulta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48-month contract at a cost of $3,863,014 (included in the original approval). Breakdown:</a:t>
            </a:r>
          </a:p>
          <a:p>
            <a:endParaRPr lang="en-US" dirty="0">
              <a:latin typeface="+mj-lt"/>
            </a:endParaRP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WSP USA:   $2,536,279 (66%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LTK:           $889,607    (23%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VPE (DBE): $437,128    (11%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Total Red Line No. 3 Car Program Budget is $44,033,424</a:t>
            </a:r>
          </a:p>
          <a:p>
            <a:endParaRPr lang="en-US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Goal is to preserve service life of Red Line No. 3 cars until the No. 4 cars are in service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8574" y="400972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Reliability Program- Engineering Services</a:t>
            </a:r>
          </a:p>
        </p:txBody>
      </p:sp>
      <p:sp>
        <p:nvSpPr>
          <p:cNvPr id="6" name="Shape 134"/>
          <p:cNvSpPr txBox="1">
            <a:spLocks/>
          </p:cNvSpPr>
          <p:nvPr/>
        </p:nvSpPr>
        <p:spPr>
          <a:xfrm>
            <a:off x="499197" y="859485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Engineering Program Management Contract</a:t>
            </a:r>
          </a:p>
        </p:txBody>
      </p:sp>
    </p:spTree>
    <p:extLst>
      <p:ext uri="{BB962C8B-B14F-4D97-AF65-F5344CB8AC3E}">
        <p14:creationId xmlns:p14="http://schemas.microsoft.com/office/powerpoint/2010/main" val="2585167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5697" y="1676400"/>
            <a:ext cx="840093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Request of the Fiscal and Management Control Board to authorize the General Manager and CEO, or his designee to award and execute MBTA Contract No. V30PS04 Red Line No. 3 Car Reliability Program management and engineering support to WSP USA for a total amount not to exceed $3,863,014 with a 48 month duration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8574" y="400972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d Line No. 3 Car Reliability Program- Engineering Services</a:t>
            </a:r>
          </a:p>
        </p:txBody>
      </p:sp>
      <p:sp>
        <p:nvSpPr>
          <p:cNvPr id="6" name="Shape 134"/>
          <p:cNvSpPr txBox="1">
            <a:spLocks/>
          </p:cNvSpPr>
          <p:nvPr/>
        </p:nvSpPr>
        <p:spPr>
          <a:xfrm>
            <a:off x="438266" y="824381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Request of the Fiscal and Management Control Board</a:t>
            </a:r>
          </a:p>
        </p:txBody>
      </p:sp>
    </p:spTree>
    <p:extLst>
      <p:ext uri="{BB962C8B-B14F-4D97-AF65-F5344CB8AC3E}">
        <p14:creationId xmlns:p14="http://schemas.microsoft.com/office/powerpoint/2010/main" val="1108101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4088DBACF70F429B55EF7E8C88DA8A" ma:contentTypeVersion="4" ma:contentTypeDescription="Create a new document." ma:contentTypeScope="" ma:versionID="292306b25d0b46b20b008403e0012adb">
  <xsd:schema xmlns:xsd="http://www.w3.org/2001/XMLSchema" xmlns:xs="http://www.w3.org/2001/XMLSchema" xmlns:p="http://schemas.microsoft.com/office/2006/metadata/properties" xmlns:ns2="da661411-cc0a-409b-b10d-2994db0e96ef" targetNamespace="http://schemas.microsoft.com/office/2006/metadata/properties" ma:root="true" ma:fieldsID="d356f6c812d332dc423425102401e20b" ns2:_="">
    <xsd:import namespace="da661411-cc0a-409b-b10d-2994db0e96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661411-cc0a-409b-b10d-2994db0e96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6E8548-00F9-426F-B460-FEE05EB09ED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FC4A924-DD67-42FA-BD02-E1E3724CA74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AE9022-4247-457C-BE50-8C6703E6A9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661411-cc0a-409b-b10d-2994db0e9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3743</TotalTime>
  <Words>503</Words>
  <Application>Microsoft Macintosh PowerPoint</Application>
  <PresentationFormat>On-screen Show (4:3)</PresentationFormat>
  <Paragraphs>68</Paragraphs>
  <Slides>6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Montserrat</vt:lpstr>
      <vt:lpstr>Verdana</vt:lpstr>
      <vt:lpstr>MBTA Default Template</vt:lpstr>
      <vt:lpstr>1_MBTA Default Template</vt:lpstr>
      <vt:lpstr>No. 3 Car Reliability Program- Contract V30PS04 Red Line Project Management and Engineering Servic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Siddiqui, Aayesha</cp:lastModifiedBy>
  <cp:revision>1369</cp:revision>
  <cp:lastPrinted>2018-08-31T13:42:03Z</cp:lastPrinted>
  <dcterms:created xsi:type="dcterms:W3CDTF">2016-04-11T13:25:01Z</dcterms:created>
  <dcterms:modified xsi:type="dcterms:W3CDTF">2018-09-10T19:4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4088DBACF70F429B55EF7E8C88DA8A</vt:lpwstr>
  </property>
</Properties>
</file>